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9"/>
  </p:notesMasterIdLst>
  <p:sldIdLst>
    <p:sldId id="1624" r:id="rId3"/>
    <p:sldId id="4470" r:id="rId4"/>
    <p:sldId id="4518" r:id="rId5"/>
    <p:sldId id="4519" r:id="rId6"/>
    <p:sldId id="4522" r:id="rId7"/>
    <p:sldId id="4472" r:id="rId8"/>
  </p:sldIdLst>
  <p:sldSz cx="12192000" cy="6858000"/>
  <p:notesSz cx="6858000" cy="9144000"/>
  <p:custDataLst>
    <p:tags r:id="rId10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33CC"/>
    <a:srgbClr val="0000FF"/>
    <a:srgbClr val="00FF00"/>
    <a:srgbClr val="D31145"/>
    <a:srgbClr val="3333CC"/>
    <a:srgbClr val="FF9900"/>
    <a:srgbClr val="00B050"/>
    <a:srgbClr val="800000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4641" autoAdjust="0"/>
  </p:normalViewPr>
  <p:slideViewPr>
    <p:cSldViewPr snapToGrid="0">
      <p:cViewPr varScale="1">
        <p:scale>
          <a:sx n="98" d="100"/>
          <a:sy n="98" d="100"/>
        </p:scale>
        <p:origin x="660" y="102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6982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7.01.2022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7.01.2022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7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7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3828910"/>
            <a:ext cx="12192000" cy="2236911"/>
          </a:xfrm>
        </p:spPr>
        <p:txBody>
          <a:bodyPr>
            <a:normAutofit fontScale="92500" lnSpcReduction="10000"/>
          </a:bodyPr>
          <a:lstStyle/>
          <a:p>
            <a:r>
              <a:rPr lang="cs-CZ" sz="5200" b="1" i="1" dirty="0"/>
              <a:t>Rizikové faktory: </a:t>
            </a:r>
          </a:p>
          <a:p>
            <a:r>
              <a:rPr lang="cs-CZ" sz="5200" b="1" i="1" dirty="0"/>
              <a:t>prediktory rizikového vývoje </a:t>
            </a:r>
          </a:p>
          <a:p>
            <a:r>
              <a:rPr lang="cs-CZ" sz="5200" b="1" i="1" dirty="0"/>
              <a:t>Data k 17.1.2022</a:t>
            </a:r>
            <a:endParaRPr lang="cs-CZ" sz="4200" i="1" dirty="0"/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39584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61569" y="1993102"/>
            <a:ext cx="33261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K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4938461-0B83-4D40-9212-EBDAB161A591}"/>
              </a:ext>
            </a:extLst>
          </p:cNvPr>
          <p:cNvSpPr/>
          <p:nvPr/>
        </p:nvSpPr>
        <p:spPr>
          <a:xfrm>
            <a:off x="74302" y="2733486"/>
            <a:ext cx="316801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kriminační PCR (% z pozitivních, 7 denní průmě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ané případy (%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řešené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řípady z pozitivních do 24h (%; za 7 dní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ování: 7denní průměrný počet hlášených kontak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ončené základní očkování (%): celá populace, populace 16+, 65+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lující dávka (% osob, které mají náro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CR t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 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klinicky a diagnosticky indikovaných testů /100 tis. obyv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DA0BCFD0-73F7-4008-9028-D76EFC152194}"/>
              </a:ext>
            </a:extLst>
          </p:cNvPr>
          <p:cNvSpPr/>
          <p:nvPr/>
        </p:nvSpPr>
        <p:spPr>
          <a:xfrm>
            <a:off x="3617601" y="629222"/>
            <a:ext cx="2983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ČNÍ UKAZATEL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Obdélník 37">
            <a:extLst>
              <a:ext uri="{FF2B5EF4-FFF2-40B4-BE49-F238E27FC236}">
                <a16:creationId xmlns:a16="http://schemas.microsoft.com/office/drawing/2014/main" id="{5E52BFD5-049A-490E-8DCA-E22F6FB8CE24}"/>
              </a:ext>
            </a:extLst>
          </p:cNvPr>
          <p:cNvSpPr/>
          <p:nvPr/>
        </p:nvSpPr>
        <p:spPr>
          <a:xfrm>
            <a:off x="3617601" y="3631240"/>
            <a:ext cx="378332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DOPAD COVID-19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4E30E596-1F26-4643-B6BC-D3AB0BB31AD9}"/>
              </a:ext>
            </a:extLst>
          </p:cNvPr>
          <p:cNvSpPr/>
          <p:nvPr/>
        </p:nvSpPr>
        <p:spPr>
          <a:xfrm>
            <a:off x="3674751" y="964859"/>
            <a:ext cx="32213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/ 100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hodnota R</a:t>
            </a: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denní 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688E0A35-C432-490F-ABAD-E5A2CA43294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693799" y="3966877"/>
            <a:ext cx="417706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               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funkční kapacita JIP (% celkové kapacity)*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celkem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na UPV/ECMO k danému dni / 100 tis. obyv.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ložnos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IP pacienty s COVID-19 v % aktuální celkové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acity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EF139F39-ED57-4C2F-A850-CD97352824B3}"/>
              </a:ext>
            </a:extLst>
          </p:cNvPr>
          <p:cNvSpPr/>
          <p:nvPr/>
        </p:nvSpPr>
        <p:spPr>
          <a:xfrm>
            <a:off x="8145182" y="993434"/>
            <a:ext cx="38894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S DOKONČENÝM OČKOVÁNÍ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&gt; 14 dní po 2. dávce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CE776797-17C7-4A17-BD5F-FFD4924A80DC}"/>
              </a:ext>
            </a:extLst>
          </p:cNvPr>
          <p:cNvSpPr/>
          <p:nvPr/>
        </p:nvSpPr>
        <p:spPr>
          <a:xfrm>
            <a:off x="8116606" y="1727875"/>
            <a:ext cx="388940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/ 100tis. obyv. v celé populac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po dokončeném očkování / 100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symptomatických případů / 100 tis. obyv. 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dikovaných test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případů 65+/ 100tis. obyv. 65+s dokončeným očkování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ní pozitivita indikovaných (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g+Ep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testů 65+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do nemocnic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počet nových příjmů na JIP (včetně překladů) / 100tis. obyv. s dokončeným očkováním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k danému dni / 100 tis. obyv. s dokončeným očkování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Šipka: doprava 50">
            <a:extLst>
              <a:ext uri="{FF2B5EF4-FFF2-40B4-BE49-F238E27FC236}">
                <a16:creationId xmlns:a16="http://schemas.microsoft.com/office/drawing/2014/main" id="{7669635F-69F6-40FC-9E0D-B498AEC34BE3}"/>
              </a:ext>
            </a:extLst>
          </p:cNvPr>
          <p:cNvSpPr/>
          <p:nvPr/>
        </p:nvSpPr>
        <p:spPr>
          <a:xfrm rot="19361708">
            <a:off x="2800956" y="14950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Šipka: doprava 51">
            <a:extLst>
              <a:ext uri="{FF2B5EF4-FFF2-40B4-BE49-F238E27FC236}">
                <a16:creationId xmlns:a16="http://schemas.microsoft.com/office/drawing/2014/main" id="{DAD487BE-DFC0-415D-96AC-68FD38AFA819}"/>
              </a:ext>
            </a:extLst>
          </p:cNvPr>
          <p:cNvSpPr/>
          <p:nvPr/>
        </p:nvSpPr>
        <p:spPr>
          <a:xfrm rot="5400000">
            <a:off x="4489525" y="305461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Šipka: doprava 52">
            <a:extLst>
              <a:ext uri="{FF2B5EF4-FFF2-40B4-BE49-F238E27FC236}">
                <a16:creationId xmlns:a16="http://schemas.microsoft.com/office/drawing/2014/main" id="{A9FC6995-CE9C-48B3-A8FE-4FF6F9A79A48}"/>
              </a:ext>
            </a:extLst>
          </p:cNvPr>
          <p:cNvSpPr/>
          <p:nvPr/>
        </p:nvSpPr>
        <p:spPr>
          <a:xfrm>
            <a:off x="7400926" y="4064351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Šipka: doprava 53">
            <a:extLst>
              <a:ext uri="{FF2B5EF4-FFF2-40B4-BE49-F238E27FC236}">
                <a16:creationId xmlns:a16="http://schemas.microsoft.com/office/drawing/2014/main" id="{ACC5C1B8-6468-4BF5-AE22-6DF507618EAD}"/>
              </a:ext>
            </a:extLst>
          </p:cNvPr>
          <p:cNvSpPr/>
          <p:nvPr/>
        </p:nvSpPr>
        <p:spPr>
          <a:xfrm>
            <a:off x="7288833" y="1663904"/>
            <a:ext cx="469933" cy="76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3F66A3-BC4D-419E-B8C1-775BBDE263FB}"/>
              </a:ext>
            </a:extLst>
          </p:cNvPr>
          <p:cNvSpPr txBox="1"/>
          <p:nvPr/>
        </p:nvSpPr>
        <p:spPr>
          <a:xfrm>
            <a:off x="8272582" y="6211669"/>
            <a:ext cx="3781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Dostupná (plně funkční) kapacita lůžek JIP dle Národního dispečinku lůžkové péče;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Celková kapacita lůžkového fondu (smluvní počet lůžek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0739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0F532DB9-8A49-4532-8F7E-A99DB5C40FA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6405330"/>
              </p:ext>
            </p:extLst>
          </p:nvPr>
        </p:nvGraphicFramePr>
        <p:xfrm>
          <a:off x="107354" y="1313136"/>
          <a:ext cx="3771899" cy="3850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34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40753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; za 7 dní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629135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 (% osob, které mají náro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1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55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254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7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440519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1F94E2A2-209A-4845-812E-17757BC91BE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566067"/>
              </p:ext>
            </p:extLst>
          </p:nvPr>
        </p:nvGraphicFramePr>
        <p:xfrm>
          <a:off x="4027940" y="1313135"/>
          <a:ext cx="3886199" cy="3021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3842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905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7098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8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3422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39179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Dg+Epi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2993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7A86019B-54FD-4C3D-9845-0E85E2D3D6B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8885296"/>
              </p:ext>
            </p:extLst>
          </p:nvPr>
        </p:nvGraphicFramePr>
        <p:xfrm>
          <a:off x="8083409" y="1313136"/>
          <a:ext cx="3886199" cy="30210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1360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46190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628649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2207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222971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42261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512" y="647308"/>
            <a:ext cx="1125629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.1.2022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897995-A06E-40E8-A552-6EE985458E1A}"/>
              </a:ext>
            </a:extLst>
          </p:cNvPr>
          <p:cNvSpPr txBox="1"/>
          <p:nvPr/>
        </p:nvSpPr>
        <p:spPr>
          <a:xfrm>
            <a:off x="3077692" y="5842996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027ACE-6FAB-434A-9D34-20AFEAFDDE19}"/>
              </a:ext>
            </a:extLst>
          </p:cNvPr>
          <p:cNvSpPr txBox="1"/>
          <p:nvPr/>
        </p:nvSpPr>
        <p:spPr>
          <a:xfrm>
            <a:off x="3290554" y="5861102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82B42D4-E40E-4ED7-AF7E-22E986ED9DD5}"/>
              </a:ext>
            </a:extLst>
          </p:cNvPr>
          <p:cNvSpPr txBox="1"/>
          <p:nvPr/>
        </p:nvSpPr>
        <p:spPr>
          <a:xfrm>
            <a:off x="3085124" y="617878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9BB08CE-A51A-49E7-B70E-AE6DB70183D6}"/>
              </a:ext>
            </a:extLst>
          </p:cNvPr>
          <p:cNvSpPr txBox="1"/>
          <p:nvPr/>
        </p:nvSpPr>
        <p:spPr>
          <a:xfrm>
            <a:off x="6485298" y="5869832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1A01E7C4-A7CE-4445-90B4-93DEFA59BB6E}"/>
              </a:ext>
            </a:extLst>
          </p:cNvPr>
          <p:cNvSpPr txBox="1"/>
          <p:nvPr/>
        </p:nvSpPr>
        <p:spPr>
          <a:xfrm>
            <a:off x="6423677" y="6284534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03DC762C-26E4-4A97-93EE-8011CAB0E26E}"/>
              </a:ext>
            </a:extLst>
          </p:cNvPr>
          <p:cNvSpPr txBox="1"/>
          <p:nvPr/>
        </p:nvSpPr>
        <p:spPr>
          <a:xfrm>
            <a:off x="-53410" y="5818597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39867C17-1EB5-45DA-9DE1-003901236E59}"/>
              </a:ext>
            </a:extLst>
          </p:cNvPr>
          <p:cNvSpPr txBox="1"/>
          <p:nvPr/>
        </p:nvSpPr>
        <p:spPr>
          <a:xfrm>
            <a:off x="49953" y="5208753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EBEBA949-A53A-4C82-BBBF-B64F0C92515A}"/>
              </a:ext>
            </a:extLst>
          </p:cNvPr>
          <p:cNvSpPr txBox="1"/>
          <p:nvPr/>
        </p:nvSpPr>
        <p:spPr>
          <a:xfrm>
            <a:off x="-40872" y="616735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1517A8F-71AD-4F8A-B597-6E4C7CF77FC3}"/>
              </a:ext>
            </a:extLst>
          </p:cNvPr>
          <p:cNvSpPr txBox="1"/>
          <p:nvPr/>
        </p:nvSpPr>
        <p:spPr>
          <a:xfrm>
            <a:off x="9341185" y="5869832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5199FCE-D8C3-4F85-88F0-66D401D4C862}"/>
              </a:ext>
            </a:extLst>
          </p:cNvPr>
          <p:cNvSpPr txBox="1"/>
          <p:nvPr/>
        </p:nvSpPr>
        <p:spPr>
          <a:xfrm>
            <a:off x="9279432" y="6289211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146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>
            <p:custDataLst>
              <p:tags r:id="rId1"/>
            </p:custDataLst>
          </p:nvPr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9F1A6B3C-5D86-41F8-9A05-F9692C3D54A3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532198"/>
              </p:ext>
            </p:extLst>
          </p:nvPr>
        </p:nvGraphicFramePr>
        <p:xfrm>
          <a:off x="4143456" y="1082564"/>
          <a:ext cx="3924545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63087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9022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71235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BEZ POSILUJÍCÍ DÁVKY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8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s dokončeným očkování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.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s dokončeným očkováním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6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2328" y="647308"/>
            <a:ext cx="1125629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.1.2022</a:t>
            </a:r>
          </a:p>
        </p:txBody>
      </p:sp>
      <p:graphicFrame>
        <p:nvGraphicFramePr>
          <p:cNvPr id="29" name="Tabulka 28">
            <a:extLst>
              <a:ext uri="{FF2B5EF4-FFF2-40B4-BE49-F238E27FC236}">
                <a16:creationId xmlns:a16="http://schemas.microsoft.com/office/drawing/2014/main" id="{963A3029-6770-4837-AFC6-FBE9FB18922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5230012"/>
              </p:ext>
            </p:extLst>
          </p:nvPr>
        </p:nvGraphicFramePr>
        <p:xfrm>
          <a:off x="84946" y="1087466"/>
          <a:ext cx="3924545" cy="48312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63087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9022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71235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NEOČKOVANÁ NEBO S NEDOKONČENÝM OČKOVÁNÍM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6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.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07305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z 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končené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 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čk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6.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92037"/>
                  </a:ext>
                </a:extLst>
              </a:tr>
            </a:tbl>
          </a:graphicData>
        </a:graphic>
      </p:graphicFrame>
      <p:sp>
        <p:nvSpPr>
          <p:cNvPr id="23" name="TextovéPole 22">
            <a:extLst>
              <a:ext uri="{FF2B5EF4-FFF2-40B4-BE49-F238E27FC236}">
                <a16:creationId xmlns:a16="http://schemas.microsoft.com/office/drawing/2014/main" id="{96424B97-D860-4633-A02F-75BD15683942}"/>
              </a:ext>
            </a:extLst>
          </p:cNvPr>
          <p:cNvSpPr txBox="1"/>
          <p:nvPr/>
        </p:nvSpPr>
        <p:spPr>
          <a:xfrm>
            <a:off x="3144367" y="5987495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80B8081-94BB-4423-81C0-D0F83BEBCD5D}"/>
              </a:ext>
            </a:extLst>
          </p:cNvPr>
          <p:cNvSpPr txBox="1"/>
          <p:nvPr/>
        </p:nvSpPr>
        <p:spPr>
          <a:xfrm>
            <a:off x="3357229" y="6005601"/>
            <a:ext cx="425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▼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88216448-CF52-4CE8-AD3F-6590D1166279}"/>
              </a:ext>
            </a:extLst>
          </p:cNvPr>
          <p:cNvSpPr txBox="1"/>
          <p:nvPr/>
        </p:nvSpPr>
        <p:spPr>
          <a:xfrm>
            <a:off x="3151799" y="6274037"/>
            <a:ext cx="30322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zistentní trend směrem k rizikovým hodnotám indikátoru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63105EB-4C01-4594-A3F4-69A24C384C1B}"/>
              </a:ext>
            </a:extLst>
          </p:cNvPr>
          <p:cNvSpPr txBox="1"/>
          <p:nvPr/>
        </p:nvSpPr>
        <p:spPr>
          <a:xfrm>
            <a:off x="6551973" y="6014331"/>
            <a:ext cx="717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lt;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96435E0-ECE2-408A-A7D2-45948EC8DD07}"/>
              </a:ext>
            </a:extLst>
          </p:cNvPr>
          <p:cNvSpPr txBox="1"/>
          <p:nvPr/>
        </p:nvSpPr>
        <p:spPr>
          <a:xfrm>
            <a:off x="6490352" y="6351209"/>
            <a:ext cx="2327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ost hodnot (scénář 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6A8F8A2D-C998-45E8-A477-0FE54924F4DB}"/>
              </a:ext>
            </a:extLst>
          </p:cNvPr>
          <p:cNvSpPr txBox="1"/>
          <p:nvPr/>
        </p:nvSpPr>
        <p:spPr>
          <a:xfrm>
            <a:off x="13265" y="5963096"/>
            <a:ext cx="3716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3ADE43F-080A-43CA-B30C-B11E6EA69940}"/>
              </a:ext>
            </a:extLst>
          </p:cNvPr>
          <p:cNvSpPr txBox="1"/>
          <p:nvPr/>
        </p:nvSpPr>
        <p:spPr>
          <a:xfrm>
            <a:off x="25803" y="6262602"/>
            <a:ext cx="3333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ta indikátoru mimo riziko, bez rizikového trendu (scénář 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7AD9E94C-366A-428C-8246-1D6C4A93B413}"/>
              </a:ext>
            </a:extLst>
          </p:cNvPr>
          <p:cNvSpPr txBox="1"/>
          <p:nvPr/>
        </p:nvSpPr>
        <p:spPr>
          <a:xfrm>
            <a:off x="9407860" y="6014331"/>
            <a:ext cx="534997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!!!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E75A587-2B96-4490-A547-155091FE77FA}"/>
              </a:ext>
            </a:extLst>
          </p:cNvPr>
          <p:cNvSpPr txBox="1"/>
          <p:nvPr/>
        </p:nvSpPr>
        <p:spPr>
          <a:xfrm>
            <a:off x="9346107" y="6355886"/>
            <a:ext cx="2815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á hodnota (scénář III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75F9F4B-87C3-45A7-AFFC-DD3BF85AD83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81747326"/>
              </p:ext>
            </p:extLst>
          </p:nvPr>
        </p:nvGraphicFramePr>
        <p:xfrm>
          <a:off x="8192238" y="1085793"/>
          <a:ext cx="3924544" cy="46748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6308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9022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71235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2454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S DOKONČENÝM OČKOVÁNÍM S POSILUJÍCÍ DÁVKOU</a:t>
                      </a:r>
                      <a:endParaRPr lang="cs-CZ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Hodnota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nd</a:t>
                      </a:r>
                      <a:endParaRPr lang="cs-CZ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iziko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po dokončeném očkování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.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!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91405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▲!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811140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!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52917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305496"/>
                          </a:solidFill>
                          <a:effectLst/>
                          <a:latin typeface="Arial" panose="020B06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833963"/>
                  </a:ext>
                </a:extLst>
              </a:tr>
              <a:tr h="35606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 po posilující dáv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4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99853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5097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 po posouzení vývoje epidemie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915B2B79-3BEF-44FC-A588-61C720C0CBF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512" y="647308"/>
            <a:ext cx="1125629" cy="369332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prstClr val="white"/>
                </a:solidFill>
                <a:latin typeface="Calibri" panose="020F0502020204030204"/>
              </a:rPr>
              <a:t>16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1.2022</a:t>
            </a: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256C204E-ADA7-4ADE-A102-442FD6245E1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5371003"/>
              </p:ext>
            </p:extLst>
          </p:nvPr>
        </p:nvGraphicFramePr>
        <p:xfrm>
          <a:off x="778933" y="1209142"/>
          <a:ext cx="4249515" cy="38867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02818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546697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DOKONČENÉHO OČKOVÁNÍ BEZ POSILUJÍCÍ DÁVKY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.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5.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1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6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DOKONČENÉHO OČKOVÁNÍ BEZ POSILUJÍCÍ DÁVKY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6.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6.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.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  <p:sp>
        <p:nvSpPr>
          <p:cNvPr id="37" name="TextovéPole 36">
            <a:extLst>
              <a:ext uri="{FF2B5EF4-FFF2-40B4-BE49-F238E27FC236}">
                <a16:creationId xmlns:a16="http://schemas.microsoft.com/office/drawing/2014/main" id="{8A13EED6-7BE9-4DD5-B41D-847758B5E561}"/>
              </a:ext>
            </a:extLst>
          </p:cNvPr>
          <p:cNvSpPr txBox="1"/>
          <p:nvPr/>
        </p:nvSpPr>
        <p:spPr>
          <a:xfrm>
            <a:off x="769285" y="5286904"/>
            <a:ext cx="9585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Kalkulováno ze 7denních kumulativních počtů případů onemocnění; vždy ve srovnání populace s dokončeným očkováním vs. populace neočkovaná</a:t>
            </a:r>
            <a:endParaRPr lang="en-US" sz="1200" dirty="0"/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6DE5324-E948-45C1-8B8C-6CBF1A9E305F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37190329"/>
              </p:ext>
            </p:extLst>
          </p:nvPr>
        </p:nvGraphicFramePr>
        <p:xfrm>
          <a:off x="6095999" y="1207686"/>
          <a:ext cx="4259163" cy="38867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12466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1546697">
                  <a:extLst>
                    <a:ext uri="{9D8B030D-6E8A-4147-A177-3AD203B41FA5}">
                      <a16:colId xmlns:a16="http://schemas.microsoft.com/office/drawing/2014/main" val="1107678429"/>
                    </a:ext>
                  </a:extLst>
                </a:gridCol>
              </a:tblGrid>
              <a:tr h="38932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CELÁ POPULACE</a:t>
                      </a: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DOKONČENÉHO OČKOVÁNÍ S POSILUJÍCÍ DÁVKOU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3408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5.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558024"/>
                  </a:ext>
                </a:extLst>
              </a:tr>
              <a:tr h="36072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3.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973997"/>
                  </a:ext>
                </a:extLst>
              </a:tr>
              <a:tr h="336804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6.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939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09103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u="sng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POPULACE 65+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OCHRANNÝ EFEKT (OE) DOKONČENÉHO OČKOVÁNÍ S POSILUJÍCÍ DÁVKOU *</a:t>
                      </a:r>
                      <a:endParaRPr lang="cs-CZ" sz="1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roti neočkovaný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513746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NÁKAZ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978021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HOSPITALIZACI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5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541005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JIP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6.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88268"/>
                  </a:ext>
                </a:extLst>
              </a:tr>
              <a:tr h="35893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E PROTI LÉČBĚ NA UPV/ECM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0.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129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3501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/>
        </p:nvSpPr>
        <p:spPr>
          <a:xfrm>
            <a:off x="152773" y="0"/>
            <a:ext cx="118864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íčové ukazatele a rizikové faktory: </a:t>
            </a:r>
            <a:r>
              <a:rPr kumimoji="0" lang="cs-CZ" sz="3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aniční rizikové hodnoty </a:t>
            </a:r>
            <a:endParaRPr kumimoji="0" lang="cs-CZ" sz="3000" b="0" i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63D1FB2-29AD-41A2-A944-285E36ABF2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8345230"/>
              </p:ext>
            </p:extLst>
          </p:nvPr>
        </p:nvGraphicFramePr>
        <p:xfrm>
          <a:off x="107354" y="1570311"/>
          <a:ext cx="3771899" cy="4021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695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1175">
                  <a:extLst>
                    <a:ext uri="{9D8B030D-6E8A-4147-A177-3AD203B41FA5}">
                      <a16:colId xmlns:a16="http://schemas.microsoft.com/office/drawing/2014/main" val="52458354"/>
                    </a:ext>
                  </a:extLst>
                </a:gridCol>
                <a:gridCol w="566886">
                  <a:extLst>
                    <a:ext uri="{9D8B030D-6E8A-4147-A177-3AD203B41FA5}">
                      <a16:colId xmlns:a16="http://schemas.microsoft.com/office/drawing/2014/main" val="2172191408"/>
                    </a:ext>
                  </a:extLst>
                </a:gridCol>
              </a:tblGrid>
              <a:tr h="41111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LOGISTIK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&amp; MANAGEMENT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EPIDEMIE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kriminační PCR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% z pozitivních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ané případy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 vyřešené případy z pozitivních do 24h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sování:7denní průměrný počet hlášených kontak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16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92436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 8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050462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končené základní očkování: </a:t>
                      </a: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elá popula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C000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silující dáv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i="0" u="none" strike="noStrike" dirty="0">
                        <a:solidFill>
                          <a:srgbClr val="00B050"/>
                        </a:solidFill>
                        <a:effectLst/>
                        <a:highlight>
                          <a:srgbClr val="FFFF00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0853850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337719"/>
                  </a:ext>
                </a:extLst>
              </a:tr>
              <a:tr h="34199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klinicky a diagnosticky indikovaných PCR testů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.s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FFC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8844813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68F18E96-B98E-4A20-8F79-E9B9D681C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106705"/>
              </p:ext>
            </p:extLst>
          </p:nvPr>
        </p:nvGraphicFramePr>
        <p:xfrm>
          <a:off x="4067174" y="1570309"/>
          <a:ext cx="3886200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62054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49172">
                  <a:extLst>
                    <a:ext uri="{9D8B030D-6E8A-4147-A177-3AD203B41FA5}">
                      <a16:colId xmlns:a16="http://schemas.microsoft.com/office/drawing/2014/main" val="4105667536"/>
                    </a:ext>
                  </a:extLst>
                </a:gridCol>
                <a:gridCol w="551099">
                  <a:extLst>
                    <a:ext uri="{9D8B030D-6E8A-4147-A177-3AD203B41FA5}">
                      <a16:colId xmlns:a16="http://schemas.microsoft.com/office/drawing/2014/main" val="828973669"/>
                    </a:ext>
                  </a:extLst>
                </a:gridCol>
              </a:tblGrid>
              <a:tr h="48473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OPULA</a:t>
                      </a: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ČNÍ UKAZATELE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68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symptomatických případů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090560"/>
                  </a:ext>
                </a:extLst>
              </a:tr>
              <a:tr h="403229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hodnota 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.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relativní pozitivita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indikova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případů 65+/ 100tis. obyv.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0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  <a:tr h="406547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8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ativní pozitivita indikovaných (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g+Epi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testů 65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7752783"/>
                  </a:ext>
                </a:extLst>
              </a:tr>
            </a:tbl>
          </a:graphicData>
        </a:graphic>
      </p:graphicFrame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6745305C-602B-437F-BBCD-88C47A4E80E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0819"/>
              </p:ext>
            </p:extLst>
          </p:nvPr>
        </p:nvGraphicFramePr>
        <p:xfrm>
          <a:off x="8175960" y="1570311"/>
          <a:ext cx="3884955" cy="3001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6153">
                  <a:extLst>
                    <a:ext uri="{9D8B030D-6E8A-4147-A177-3AD203B41FA5}">
                      <a16:colId xmlns:a16="http://schemas.microsoft.com/office/drawing/2014/main" val="1039761853"/>
                    </a:ext>
                  </a:extLst>
                </a:gridCol>
                <a:gridCol w="605147">
                  <a:extLst>
                    <a:ext uri="{9D8B030D-6E8A-4147-A177-3AD203B41FA5}">
                      <a16:colId xmlns:a16="http://schemas.microsoft.com/office/drawing/2014/main" val="3581028306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2593690651"/>
                    </a:ext>
                  </a:extLst>
                </a:gridCol>
                <a:gridCol w="541680">
                  <a:extLst>
                    <a:ext uri="{9D8B030D-6E8A-4147-A177-3AD203B41FA5}">
                      <a16:colId xmlns:a16="http://schemas.microsoft.com/office/drawing/2014/main" val="2874801908"/>
                    </a:ext>
                  </a:extLst>
                </a:gridCol>
              </a:tblGrid>
              <a:tr h="44993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chemeClr val="tx1"/>
                          </a:solidFill>
                          <a:effectLst/>
                        </a:rPr>
                        <a:t>ZDRAVOTNÍ DOPAD COVID-19*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20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</a:t>
                      </a:r>
                      <a:endParaRPr lang="cs-CZ" sz="2200" dirty="0">
                        <a:solidFill>
                          <a:srgbClr val="FF0000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200" dirty="0">
                          <a:solidFill>
                            <a:srgbClr val="FF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!!</a:t>
                      </a:r>
                      <a:endParaRPr lang="en-US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481214"/>
                  </a:ext>
                </a:extLst>
              </a:tr>
              <a:tr h="36757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do nemocnic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944530"/>
                  </a:ext>
                </a:extLst>
              </a:tr>
              <a:tr h="44073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denní počet nových příjmů na JIP (včetně překladů) / 100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3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261566"/>
                  </a:ext>
                </a:extLst>
              </a:tr>
              <a:tr h="326572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stupná funkční kapacita JIP (% celkové kapacit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4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 3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lt;</a:t>
                      </a:r>
                      <a:r>
                        <a:rPr lang="cs-CZ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628004"/>
                  </a:ext>
                </a:extLst>
              </a:tr>
              <a:tr h="3243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celkem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 25</a:t>
                      </a:r>
                      <a:endParaRPr lang="en-US" sz="110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001286"/>
                  </a:ext>
                </a:extLst>
              </a:tr>
              <a:tr h="331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spitalizovaní na JIP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4,0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227092"/>
                  </a:ext>
                </a:extLst>
              </a:tr>
              <a:tr h="295698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pacientů na UPV/ECMO k danému dni / 100 tis. obyv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,5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7462542"/>
                  </a:ext>
                </a:extLst>
              </a:tr>
              <a:tr h="363940">
                <a:tc>
                  <a:txBody>
                    <a:bodyPr/>
                    <a:lstStyle/>
                    <a:p>
                      <a:pPr algn="l" fontAlgn="ctr"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None/>
                      </a:pP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bložnost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JIP pacienty s COVID-19 v % aktuální celkové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aci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</a:t>
                      </a:r>
                      <a:r>
                        <a:rPr lang="cs-CZ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15% 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21848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2DB09875-B016-49E4-BC18-2DC626B60AB6}"/>
              </a:ext>
            </a:extLst>
          </p:cNvPr>
          <p:cNvSpPr txBox="1"/>
          <p:nvPr/>
        </p:nvSpPr>
        <p:spPr>
          <a:xfrm flipH="1">
            <a:off x="207821" y="989225"/>
            <a:ext cx="11782055" cy="375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ykřičníky označují tři hranice rizika, odpovídající rizikovým scénářům vývoj I &lt; II &lt; III. Některé ukazatele mají pouze dvě rizikové hladiny hodnot, některé žádnou.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48D8BBF1-D0B5-4D10-AF3E-876A6FC2CF3F}"/>
              </a:ext>
            </a:extLst>
          </p:cNvPr>
          <p:cNvSpPr txBox="1"/>
          <p:nvPr/>
        </p:nvSpPr>
        <p:spPr>
          <a:xfrm>
            <a:off x="76200" y="5741127"/>
            <a:ext cx="324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.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: není specifikováno (není hodnoceno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846608-7229-4ED5-A2FC-9D0F2682C675}"/>
              </a:ext>
            </a:extLst>
          </p:cNvPr>
          <p:cNvSpPr txBox="1"/>
          <p:nvPr/>
        </p:nvSpPr>
        <p:spPr>
          <a:xfrm>
            <a:off x="4635201" y="5245926"/>
            <a:ext cx="6442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* Stejné hranice jsou aplikovány při hodnocení situace odděleně v populaci neočkovaných osob, osob s nedokončeným očkováním a v populaci osob s dokončeným očkováním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0830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713</TotalTime>
  <Words>2036</Words>
  <Application>Microsoft Office PowerPoint</Application>
  <PresentationFormat>Širokoúhlá obrazovka</PresentationFormat>
  <Paragraphs>406</Paragraphs>
  <Slides>6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6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Wingdings</vt:lpstr>
      <vt:lpstr>Motiv Office</vt:lpstr>
      <vt:lpstr>1_Motiv systému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;Ladislav Dušek</dc:creator>
  <cp:lastModifiedBy>Dušek Ladislav prof. RNDr. Ph.D.</cp:lastModifiedBy>
  <cp:revision>2325</cp:revision>
  <dcterms:created xsi:type="dcterms:W3CDTF">2020-03-16T10:06:11Z</dcterms:created>
  <dcterms:modified xsi:type="dcterms:W3CDTF">2022-01-17T19:40:54Z</dcterms:modified>
</cp:coreProperties>
</file>